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6449420" r:id="rId2"/>
    <p:sldId id="214644941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White Tit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4E1E442-EA91-4CF2-A76A-A72CA1E32C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 tIns="384048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76A7DA-F8C7-EB4B-BCB0-CA9AB969E8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49583" y="2337708"/>
            <a:ext cx="11612880" cy="396172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49582" y="113154"/>
            <a:ext cx="11612880" cy="2607601"/>
          </a:xfrm>
          <a:ln>
            <a:noFill/>
          </a:ln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 with Carryover Line of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A7BCA-4CC1-46BF-BE48-FB8B0628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9582" y="2806020"/>
            <a:ext cx="11612880" cy="399093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Title</a:t>
            </a:r>
          </a:p>
        </p:txBody>
      </p:sp>
    </p:spTree>
    <p:extLst>
      <p:ext uri="{BB962C8B-B14F-4D97-AF65-F5344CB8AC3E}">
        <p14:creationId xmlns:p14="http://schemas.microsoft.com/office/powerpoint/2010/main" val="2182950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&amp;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6096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84C0D-8445-4009-BF2F-55B901AD154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096000" y="37"/>
            <a:ext cx="6096000" cy="6857963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E0154CF-2E3E-474A-90FB-034C357AA42D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298808" y="1610090"/>
            <a:ext cx="5410624" cy="45797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tem #1</a:t>
            </a:r>
          </a:p>
          <a:p>
            <a:pPr lvl="0"/>
            <a:r>
              <a:rPr lang="en-US"/>
              <a:t>Item #2</a:t>
            </a:r>
          </a:p>
          <a:p>
            <a:pPr lvl="0"/>
            <a:r>
              <a:rPr lang="en-US"/>
              <a:t>Item #3</a:t>
            </a:r>
          </a:p>
          <a:p>
            <a:pPr lvl="0"/>
            <a:r>
              <a:rPr lang="en-US"/>
              <a:t>Item #4</a:t>
            </a:r>
          </a:p>
          <a:p>
            <a:pPr lvl="0"/>
            <a:r>
              <a:rPr lang="en-US"/>
              <a:t>Item #5</a:t>
            </a:r>
          </a:p>
          <a:p>
            <a:pPr lvl="0"/>
            <a:r>
              <a:rPr lang="en-US"/>
              <a:t>Item #6</a:t>
            </a:r>
          </a:p>
          <a:p>
            <a:pPr lvl="0"/>
            <a:r>
              <a:rPr lang="en-US"/>
              <a:t>Item #7</a:t>
            </a:r>
          </a:p>
          <a:p>
            <a:pPr lvl="0"/>
            <a:r>
              <a:rPr lang="en-US"/>
              <a:t>Item #8</a:t>
            </a:r>
          </a:p>
          <a:p>
            <a:pPr lvl="0"/>
            <a:r>
              <a:rPr lang="en-US"/>
              <a:t>Item #9</a:t>
            </a:r>
          </a:p>
          <a:p>
            <a:pPr lvl="0"/>
            <a:r>
              <a:rPr lang="en-US"/>
              <a:t>Item #1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8" y="397384"/>
            <a:ext cx="5413623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D9ED83A-EC5F-4B0E-9E10-C4E7EBF89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9CCAFB6-3D6F-4A4A-B975-F56A3FD36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12109638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8" y="397384"/>
            <a:ext cx="11612880" cy="600934"/>
          </a:xfrm>
        </p:spPr>
        <p:txBody>
          <a:bodyPr wrap="square"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6155E8A-7EA8-4AD6-AF57-B7E67197C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FD99E2E-71CB-490D-A000-36D13BBF91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1D0FC7CE-D148-4652-A7F7-38C45CB32EED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306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F8F849-F207-4730-BC15-C0BC77A4631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07975" y="1604963"/>
            <a:ext cx="7550150" cy="3403600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6" y="397384"/>
            <a:ext cx="11612880" cy="600934"/>
          </a:xfrm>
        </p:spPr>
        <p:txBody>
          <a:bodyPr wrap="square"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D0EB6A83-82B4-4821-9E6D-CFC9C50B2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7669D35C-88DD-4933-AC78-FA1871E7713A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5FD5D6E-9407-4D2C-82DE-5A7D5486C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963252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DD02BB2-A349-B449-B34B-9F8A7EDCAE6A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7" y="397384"/>
            <a:ext cx="11612880" cy="600934"/>
          </a:xfrm>
        </p:spPr>
        <p:txBody>
          <a:bodyPr wrap="square"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43C2B4-9830-CE46-A39E-B560CDCB4753}"/>
              </a:ext>
            </a:extLst>
          </p:cNvPr>
          <p:cNvSpPr/>
          <p:nvPr userDrawn="1"/>
        </p:nvSpPr>
        <p:spPr bwMode="ltGray">
          <a:xfrm>
            <a:off x="0" y="1295399"/>
            <a:ext cx="12192000" cy="889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F28EDDF-AD99-7C44-B415-989893C46A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6826" y="1565621"/>
            <a:ext cx="11612880" cy="348557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Secondary level text goes here. Lorem ipsum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634455EC-817E-4DFC-8A82-3AE564282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54B4DD62-BFEE-4268-B179-5590EBA77C1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6E21C78-D216-4BB9-A585-347D8D25B0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EE314AB-90D3-419B-AC10-CF5FBC63215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07975" y="2492968"/>
            <a:ext cx="7550150" cy="3403600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4607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E35961-4D94-4F4E-85B5-F31424B75A1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07975" y="1604963"/>
            <a:ext cx="5434013" cy="4338637"/>
          </a:xfrm>
        </p:spPr>
        <p:txBody>
          <a:bodyPr/>
          <a:lstStyle/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tie </a:t>
            </a:r>
            <a:r>
              <a:rPr lang="en-US" err="1"/>
              <a:t>tie</a:t>
            </a:r>
            <a:r>
              <a:rPr lang="en-US"/>
              <a:t> </a:t>
            </a:r>
            <a:r>
              <a:rPr lang="en-US" err="1"/>
              <a:t>tie</a:t>
            </a:r>
            <a:r>
              <a:rPr lang="en-US"/>
              <a:t> </a:t>
            </a:r>
            <a:r>
              <a:rPr lang="en-US" err="1"/>
              <a:t>condim</a:t>
            </a:r>
            <a:r>
              <a:rPr lang="en-US"/>
              <a:t> </a:t>
            </a:r>
            <a:r>
              <a:rPr lang="en-US" err="1"/>
              <a:t>entum</a:t>
            </a:r>
            <a:r>
              <a:rPr lang="en-US"/>
              <a:t>. </a:t>
            </a:r>
          </a:p>
          <a:p>
            <a:pPr lvl="0"/>
            <a:r>
              <a:rPr lang="en-US" err="1"/>
              <a:t>Phasellus</a:t>
            </a:r>
            <a:r>
              <a:rPr lang="en-US"/>
              <a:t> in </a:t>
            </a:r>
            <a:r>
              <a:rPr lang="en-US" err="1"/>
              <a:t>hendrerit</a:t>
            </a:r>
            <a:r>
              <a:rPr lang="en-US"/>
              <a:t> magna, a </a:t>
            </a:r>
            <a:r>
              <a:rPr lang="en-US" err="1"/>
              <a:t>accumsan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Morbi </a:t>
            </a:r>
            <a:r>
              <a:rPr lang="en-US" err="1"/>
              <a:t>aliquam</a:t>
            </a:r>
            <a:r>
              <a:rPr lang="en-US"/>
              <a:t> magna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. </a:t>
            </a:r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, </a:t>
            </a:r>
            <a:r>
              <a:rPr lang="en-US" err="1"/>
              <a:t>condimentum</a:t>
            </a:r>
            <a:r>
              <a:rPr lang="en-US"/>
              <a:t> sed eros in, vestibulum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, </a:t>
            </a:r>
            <a:r>
              <a:rPr lang="en-US" err="1"/>
              <a:t>varius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 sed,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a diam ac diam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porta vel diam. Nam in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</a:t>
            </a:r>
          </a:p>
          <a:p>
            <a:pPr lvl="0"/>
            <a:r>
              <a:rPr lang="en-US" err="1"/>
              <a:t>Quisque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venena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ac </a:t>
            </a:r>
            <a:r>
              <a:rPr lang="en-US" err="1"/>
              <a:t>mattis</a:t>
            </a:r>
            <a:r>
              <a:rPr lang="en-US"/>
              <a:t>. In auctor </a:t>
            </a:r>
            <a:r>
              <a:rPr lang="en-US" err="1"/>
              <a:t>enim</a:t>
            </a:r>
            <a:r>
              <a:rPr lang="en-US"/>
              <a:t> vel ante </a:t>
            </a:r>
            <a:r>
              <a:rPr lang="en-US" err="1"/>
              <a:t>pretium</a:t>
            </a:r>
            <a:r>
              <a:rPr lang="en-US"/>
              <a:t>, vel </a:t>
            </a:r>
            <a:r>
              <a:rPr lang="en-US" err="1"/>
              <a:t>laoreet</a:t>
            </a:r>
            <a:r>
              <a:rPr lang="en-US"/>
              <a:t> lorem </a:t>
            </a:r>
            <a:r>
              <a:rPr lang="en-US" err="1"/>
              <a:t>alique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at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dictum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fringilla</a:t>
            </a:r>
            <a:r>
              <a:rPr lang="en-US"/>
              <a:t> ex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sed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eros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EAFFD7F-E406-40CD-9AA2-3818827A8FC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096000" y="1609725"/>
            <a:ext cx="5715000" cy="3798888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8" y="397384"/>
            <a:ext cx="11612880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D0EB6A83-82B4-4821-9E6D-CFC9C50B2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B9ED8586-3578-40EA-A842-9BA9439928D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5686282-38A5-4479-9D5F-38F2620893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891958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Large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3FAA35-481F-464E-B989-E4AFA8321B5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07975" y="1604963"/>
            <a:ext cx="5434013" cy="2924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6096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2B84C0D-8445-4009-BF2F-55B901AD154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096000" y="-26469"/>
            <a:ext cx="6096000" cy="6884469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8" y="397384"/>
            <a:ext cx="5413623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DF90518-C404-4611-8BF8-29822FB22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2B1B90F-0C38-4E7A-9323-140E58C11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46625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49F19-0236-43EB-832E-E49348CEAB9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98450" y="1604963"/>
            <a:ext cx="5432425" cy="412591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804B36-E44E-4A42-B169-282EAD312F17}"/>
              </a:ext>
            </a:extLst>
          </p:cNvPr>
          <p:cNvSpPr/>
          <p:nvPr userDrawn="1"/>
        </p:nvSpPr>
        <p:spPr bwMode="gray">
          <a:xfrm>
            <a:off x="6096000" y="0"/>
            <a:ext cx="609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1A85F4-FED3-424A-A059-8B91AF23D35D}"/>
              </a:ext>
            </a:extLst>
          </p:cNvPr>
          <p:cNvSpPr/>
          <p:nvPr userDrawn="1"/>
        </p:nvSpPr>
        <p:spPr bwMode="ltGray">
          <a:xfrm>
            <a:off x="0" y="0"/>
            <a:ext cx="6096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8" y="397384"/>
            <a:ext cx="5413623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0DB37193-AF41-48D4-9C15-11EC31550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C80B6D-7129-4623-BDC1-077C58FBA1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ECB22FE1-E813-4F56-8A51-20A70596A932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49085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aption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8FC0354-FF3E-4D42-A5FC-BC26485E9D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049926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B19ED5-B37D-994C-BB5E-1532033EF1E0}"/>
              </a:ext>
            </a:extLst>
          </p:cNvPr>
          <p:cNvSpPr/>
          <p:nvPr userDrawn="1"/>
        </p:nvSpPr>
        <p:spPr bwMode="ltGray">
          <a:xfrm>
            <a:off x="0" y="6024879"/>
            <a:ext cx="12192000" cy="8331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C8ADCFF-CCDF-6F4B-BF9D-938BDF5B60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96825" y="6302968"/>
            <a:ext cx="11066393" cy="348557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One line image caption goes here.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C0EE9412-DD26-4464-8F4C-149927D6F5CF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1002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Photos &amp; Ca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FD25EFC-437D-4535-985B-6655AF0F175B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6316579" y="5476462"/>
            <a:ext cx="5593363" cy="67941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2BEE7D-089D-4E6E-B85D-FDE63C7B973C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298808" y="5476462"/>
            <a:ext cx="5608698" cy="679417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D02BB2-A349-B449-B34B-9F8A7EDCAE6A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7" y="397384"/>
            <a:ext cx="11612880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44EB6E7D-CCCD-9544-AE01-4167A157AC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8807" y="1478999"/>
            <a:ext cx="5625230" cy="3873586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Forma DJR Micro" pitchFamily="2" charset="77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7B6EFC3C-A74E-654F-84ED-662CA46597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95601" y="1478999"/>
            <a:ext cx="5625230" cy="3873586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Forma DJR Micro" pitchFamily="2" charset="77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79C63EEA-0812-4AEA-87D6-EC3DD1C6F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CF3AA77-4BD9-4984-9B44-7AF21F4CA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CE076FA6-9196-478F-8429-A22FBB16E45E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901531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Photos &amp; Ca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5991333-6B6E-417B-90A6-86B22297C995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263231" y="4004850"/>
            <a:ext cx="3684127" cy="120808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. 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5853A76-96A6-40A1-A067-424C13DB0FA8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4217930" y="4004850"/>
            <a:ext cx="3684127" cy="120808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.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D7599F5-5925-422A-A71D-C5306C416D61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298807" y="4004850"/>
            <a:ext cx="3684127" cy="120808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sed nisi vitae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rhoncus</a:t>
            </a:r>
            <a:r>
              <a:rPr lang="en-US"/>
              <a:t> </a:t>
            </a:r>
            <a:r>
              <a:rPr lang="en-US" err="1"/>
              <a:t>condimentum</a:t>
            </a:r>
            <a:r>
              <a:rPr lang="en-US"/>
              <a:t>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D02BB2-A349-B449-B34B-9F8A7EDCAE6A}"/>
              </a:ext>
            </a:extLst>
          </p:cNvPr>
          <p:cNvSpPr/>
          <p:nvPr userDrawn="1"/>
        </p:nvSpPr>
        <p:spPr bwMode="ltGray">
          <a:xfrm>
            <a:off x="0" y="0"/>
            <a:ext cx="12192000" cy="12953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0B0217-EA68-354A-A48D-B84CFF40E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298807" y="397384"/>
            <a:ext cx="11612880" cy="600934"/>
          </a:xfrm>
        </p:spPr>
        <p:txBody>
          <a:bodyPr tIns="0" rIns="0" bIns="0">
            <a:sp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0C524E3-513B-9F47-8587-4AEAC8C7ADB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8807" y="1478999"/>
            <a:ext cx="3657599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8265717D-C6EC-C546-B6FF-EAE66444D04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7930" y="1478999"/>
            <a:ext cx="3783777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65B79BDC-47CE-0543-BDE2-A8CF2E20FD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63231" y="1478999"/>
            <a:ext cx="3657600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3A7D1F7B-7BD3-400D-822A-BF038851A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5D431739-84F5-4197-82DF-65F6471BCCB4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E9F0CC6-64C9-4854-92A8-4EA9A322B9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56406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lack Typ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C3CB96E-2C0B-47B2-9104-5AF5386D8E7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 tIns="384048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76A7DA-F8C7-EB4B-BCB0-CA9AB969E8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49583" y="2337708"/>
            <a:ext cx="11612880" cy="396172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49582" y="113154"/>
            <a:ext cx="11612880" cy="2607601"/>
          </a:xfrm>
          <a:ln>
            <a:noFill/>
          </a:ln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 with Carryover Line of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A7BCA-4CC1-46BF-BE48-FB8B0628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49582" y="2806020"/>
            <a:ext cx="11612880" cy="389667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Title</a:t>
            </a:r>
          </a:p>
        </p:txBody>
      </p:sp>
    </p:spTree>
    <p:extLst>
      <p:ext uri="{BB962C8B-B14F-4D97-AF65-F5344CB8AC3E}">
        <p14:creationId xmlns:p14="http://schemas.microsoft.com/office/powerpoint/2010/main" val="39168243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hotos &amp; Ca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5991333-6B6E-417B-90A6-86B22297C995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225591" y="2768763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5853A76-96A6-40A1-A067-424C13DB0FA8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4216143" y="2768763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D7599F5-5925-422A-A71D-C5306C416D61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332873" y="2768763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0C524E3-513B-9F47-8587-4AEAC8C7ADB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2300" y="289832"/>
            <a:ext cx="3657599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8265717D-C6EC-C546-B6FF-EAE66444D04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6143" y="318112"/>
            <a:ext cx="3783777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65B79BDC-47CE-0543-BDE2-A8CF2E20FD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25591" y="318112"/>
            <a:ext cx="3657600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3A7D1F7B-7BD3-400D-822A-BF038851A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latin typeface="+mn-lt"/>
              </a:defRPr>
            </a:lvl1pPr>
          </a:lstStyle>
          <a:p>
            <a:pPr algn="l"/>
            <a:fld id="{7EAD36D4-32FF-544B-9EC2-1F035E0F636E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5C50E67-374D-4C13-B3F5-AF42AB5D79CE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8221580" y="5929057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0514296-046E-435B-B705-798751C4112A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4216143" y="5929057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9B23890-B4AE-4BE7-816D-9FB3A4134BFB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28862" y="5929057"/>
            <a:ext cx="3689683" cy="485518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f there is smaller text that would go he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DD7F8A67-D383-4A5C-ABB7-01D36055F88E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28862" y="3478406"/>
            <a:ext cx="3657599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E3304DF0-AAD9-40B1-98CA-3FF5BF50E02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4216143" y="3478406"/>
            <a:ext cx="3783777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7" name="Picture Placeholder 9">
            <a:extLst>
              <a:ext uri="{FF2B5EF4-FFF2-40B4-BE49-F238E27FC236}">
                <a16:creationId xmlns:a16="http://schemas.microsoft.com/office/drawing/2014/main" id="{980BE97B-E65B-4431-9D04-75E50D696B8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221580" y="3478406"/>
            <a:ext cx="3657600" cy="2374900"/>
          </a:xfrm>
          <a:solidFill>
            <a:schemeClr val="bg1">
              <a:lumMod val="75000"/>
            </a:schemeClr>
          </a:solidFill>
        </p:spPr>
        <p:txBody>
          <a:bodyPr bIns="914400"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73A8CD65-CB94-48B0-A1A6-14EC33A1F5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29" name="logo">
            <a:extLst>
              <a:ext uri="{FF2B5EF4-FFF2-40B4-BE49-F238E27FC236}">
                <a16:creationId xmlns:a16="http://schemas.microsoft.com/office/drawing/2014/main" id="{C79498EA-C47D-418E-B2A6-64D64D2792CE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21315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Quote &amp; Phot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BB19C53-64CF-46A0-B13A-39DA8FE8EF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2101" y="3803023"/>
            <a:ext cx="11612880" cy="2342949"/>
          </a:xfrm>
        </p:spPr>
        <p:txBody>
          <a:bodyPr>
            <a:spAutoFit/>
          </a:bodyPr>
          <a:lstStyle>
            <a:lvl1pPr marL="0" indent="0">
              <a:lnSpc>
                <a:spcPct val="125000"/>
              </a:lnSpc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hort title, quote,</a:t>
            </a:r>
            <a:br>
              <a:rPr lang="en-US"/>
            </a:br>
            <a:r>
              <a:rPr lang="en-US"/>
              <a:t>or sentenc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0A422AB0-D9FE-7942-86F0-C5D4ABCC5E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389636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2D5B01-CD02-6A47-BEE9-3A7D01D10B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2101" y="6249815"/>
            <a:ext cx="11612880" cy="348557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Attribution or sour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3D0E37D-62CF-4523-8BF4-479A339275F5}"/>
              </a:ext>
            </a:extLst>
          </p:cNvPr>
          <p:cNvGrpSpPr/>
          <p:nvPr userDrawn="1"/>
        </p:nvGrpSpPr>
        <p:grpSpPr>
          <a:xfrm>
            <a:off x="-10408" y="5020144"/>
            <a:ext cx="12202408" cy="1147282"/>
            <a:chOff x="-10408" y="5115560"/>
            <a:chExt cx="12294704" cy="114728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E6DDA52-105B-A244-911F-F4755ABFDBA4}"/>
                </a:ext>
              </a:extLst>
            </p:cNvPr>
            <p:cNvCxnSpPr/>
            <p:nvPr userDrawn="1"/>
          </p:nvCxnSpPr>
          <p:spPr>
            <a:xfrm>
              <a:off x="-10408" y="5115560"/>
              <a:ext cx="12294704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02BAE2C-DFCB-0748-8E88-D33B4E54C0CD}"/>
                </a:ext>
              </a:extLst>
            </p:cNvPr>
            <p:cNvCxnSpPr/>
            <p:nvPr userDrawn="1"/>
          </p:nvCxnSpPr>
          <p:spPr>
            <a:xfrm>
              <a:off x="-10408" y="6262842"/>
              <a:ext cx="12294704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logo">
            <a:extLst>
              <a:ext uri="{FF2B5EF4-FFF2-40B4-BE49-F238E27FC236}">
                <a16:creationId xmlns:a16="http://schemas.microsoft.com/office/drawing/2014/main" id="{FE648FE8-E4C7-4BBC-946E-7898257D3FE2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7878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White Type &amp; Phot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0A422AB0-D9FE-7942-86F0-C5D4ABCC5E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9427"/>
            <a:ext cx="12192000" cy="6897757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BB19C53-64CF-46A0-B13A-39DA8FE8EF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2101" y="4481973"/>
            <a:ext cx="11612880" cy="1123384"/>
          </a:xfrm>
        </p:spPr>
        <p:txBody>
          <a:bodyPr tIns="0" rIns="0" bIns="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ng title, quote,</a:t>
            </a:r>
            <a:br>
              <a:rPr lang="en-US"/>
            </a:br>
            <a:r>
              <a:rPr lang="en-US"/>
              <a:t>or sent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2D5B01-CD02-6A47-BEE9-3A7D01D10B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3253" y="6251212"/>
            <a:ext cx="11612880" cy="291618"/>
          </a:xfrm>
        </p:spPr>
        <p:txBody>
          <a:bodyPr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Attribution or source</a:t>
            </a:r>
          </a:p>
        </p:txBody>
      </p:sp>
    </p:spTree>
    <p:extLst>
      <p:ext uri="{BB962C8B-B14F-4D97-AF65-F5344CB8AC3E}">
        <p14:creationId xmlns:p14="http://schemas.microsoft.com/office/powerpoint/2010/main" val="14525752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Black Type &amp; Phot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0A422AB0-D9FE-7942-86F0-C5D4ABCC5E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BB19C53-64CF-46A0-B13A-39DA8FE8EF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282101" y="4481973"/>
            <a:ext cx="11612880" cy="1123384"/>
          </a:xfrm>
        </p:spPr>
        <p:txBody>
          <a:bodyPr tIns="0" rIns="0" bIns="0" anchor="ctr" anchorCtr="0">
            <a:spAutoFit/>
          </a:bodyPr>
          <a:lstStyle>
            <a:lvl1pPr marL="0" indent="0">
              <a:lnSpc>
                <a:spcPct val="90000"/>
              </a:lnSpc>
              <a:buNone/>
              <a:defRPr sz="4000">
                <a:latin typeface="+mj-lt"/>
              </a:defRPr>
            </a:lvl1pPr>
          </a:lstStyle>
          <a:p>
            <a:pPr lvl="0"/>
            <a:r>
              <a:rPr lang="en-US"/>
              <a:t>Long title, quote,</a:t>
            </a:r>
            <a:br>
              <a:rPr lang="en-US"/>
            </a:br>
            <a:r>
              <a:rPr lang="en-US"/>
              <a:t>or sent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2D5B01-CD02-6A47-BEE9-3A7D01D10B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293253" y="6251212"/>
            <a:ext cx="11612880" cy="291618"/>
          </a:xfrm>
        </p:spPr>
        <p:txBody>
          <a:bodyPr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Attribution or source</a:t>
            </a:r>
          </a:p>
        </p:txBody>
      </p:sp>
    </p:spTree>
    <p:extLst>
      <p:ext uri="{BB962C8B-B14F-4D97-AF65-F5344CB8AC3E}">
        <p14:creationId xmlns:p14="http://schemas.microsoft.com/office/powerpoint/2010/main" val="3694571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ly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8FC0354-FF3E-4D42-A5FC-BC26485E9D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2854121C-6CB0-4450-A437-2A35D7505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B8CD7CB-4A47-4727-B0E6-CFFDCACF20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62579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istic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12723C-5406-0349-9FCB-4724CD8B3A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319" y="1310878"/>
            <a:ext cx="10393362" cy="3626644"/>
          </a:xfrm>
        </p:spPr>
        <p:txBody>
          <a:bodyPr anchor="t" anchorCtr="0"/>
          <a:lstStyle>
            <a:lvl1pPr marL="0" indent="0" algn="ctr">
              <a:buNone/>
              <a:defRPr sz="30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0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5FC93-04CE-0248-B494-4EB15CE3FA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8305" y="5343525"/>
            <a:ext cx="10455442" cy="1270000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ondary text goes here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7F32798-A1C4-B24E-A3C2-B2D66586077E}"/>
              </a:ext>
            </a:extLst>
          </p:cNvPr>
          <p:cNvCxnSpPr>
            <a:cxnSpLocks/>
          </p:cNvCxnSpPr>
          <p:nvPr userDrawn="1"/>
        </p:nvCxnSpPr>
        <p:spPr>
          <a:xfrm>
            <a:off x="-29817" y="4953000"/>
            <a:ext cx="12221817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127B2303-B8A8-4AB6-8445-0182B3B239B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EC2AB47E-4E64-4CAC-BD63-CA883CC038EB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596548" y="6290052"/>
            <a:ext cx="315140" cy="315140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>
              <a:solidFill>
                <a:schemeClr val="tx1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4ADFDA0-66D5-4FE7-8969-658B1F388C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534348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60651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White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5EE755C-97F0-4B69-962B-E045E881D1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249582" y="116032"/>
            <a:ext cx="11612880" cy="3114060"/>
          </a:xfrm>
          <a:ln>
            <a:noFill/>
          </a:ln>
        </p:spPr>
        <p:txBody>
          <a:bodyPr/>
          <a:lstStyle>
            <a:lvl1pPr marL="0" indent="0">
              <a:lnSpc>
                <a:spcPct val="95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956392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Black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5EE755C-97F0-4B69-962B-E045E881D1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116032"/>
            <a:ext cx="11612880" cy="3114060"/>
          </a:xfrm>
          <a:ln>
            <a:noFill/>
          </a:ln>
        </p:spPr>
        <p:txBody>
          <a:bodyPr/>
          <a:lstStyle>
            <a:lvl1pPr marL="0" indent="0">
              <a:lnSpc>
                <a:spcPct val="95000"/>
              </a:lnSpc>
              <a:buNone/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88640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with Blue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116032"/>
            <a:ext cx="11612880" cy="3114060"/>
          </a:xfrm>
          <a:ln>
            <a:noFill/>
          </a:ln>
        </p:spPr>
        <p:txBody>
          <a:bodyPr/>
          <a:lstStyle>
            <a:lvl1pPr marL="0" indent="0">
              <a:lnSpc>
                <a:spcPct val="95000"/>
              </a:lnSpc>
              <a:buNone/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AD1017-FE5C-470F-979A-B8E90BD767C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0" y="1353535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logo">
            <a:extLst>
              <a:ext uri="{FF2B5EF4-FFF2-40B4-BE49-F238E27FC236}">
                <a16:creationId xmlns:a16="http://schemas.microsoft.com/office/drawing/2014/main" id="{F10EAB7B-87E2-481C-BCC7-ED1C587C184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285242" y="5862684"/>
            <a:ext cx="722492" cy="722489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2146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ogo">
            <a:extLst>
              <a:ext uri="{FF2B5EF4-FFF2-40B4-BE49-F238E27FC236}">
                <a16:creationId xmlns:a16="http://schemas.microsoft.com/office/drawing/2014/main" id="{484E96F8-EFE7-4607-AF1C-0FB4EC8B18A7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275617" y="1602475"/>
            <a:ext cx="3646141" cy="364613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676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lue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76A7DA-F8C7-EB4B-BCB0-CA9AB969E8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249583" y="3457348"/>
            <a:ext cx="11612880" cy="396172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113154"/>
            <a:ext cx="11612880" cy="2607601"/>
          </a:xfrm>
          <a:ln>
            <a:noFill/>
          </a:ln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 Text</a:t>
            </a:r>
            <a:br>
              <a:rPr lang="en-US"/>
            </a:br>
            <a:r>
              <a:rPr lang="en-US"/>
              <a:t>with Carryover Line</a:t>
            </a:r>
            <a:br>
              <a:rPr lang="en-US"/>
            </a:br>
            <a:r>
              <a:rPr lang="en-US"/>
              <a:t>of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A7BCA-4CC1-46BF-BE48-FB8B0628E9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249582" y="3925483"/>
            <a:ext cx="11612880" cy="363714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AB8BC2DD-84B5-4F8F-A423-6FB062BC568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285242" y="5862684"/>
            <a:ext cx="722492" cy="722489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>
              <a:solidFill>
                <a:schemeClr val="bg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A2E24C1-0D0B-47D7-81FC-285B304D5AF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1091263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61781B0-400A-45AD-B1D5-3C9E7CAC392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2192948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5F42D53-C0F3-4FCF-96CA-B219F03FA65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274556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5393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7910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Section Divider with Blue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3" y="2158616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One Line Section Divid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3CD728-6944-4B05-8B1E-5E869668F67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0" y="4726466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ogo">
            <a:extLst>
              <a:ext uri="{FF2B5EF4-FFF2-40B4-BE49-F238E27FC236}">
                <a16:creationId xmlns:a16="http://schemas.microsoft.com/office/drawing/2014/main" id="{11333140-C4C1-47FE-BCFF-E27A119C4B9B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386100" y="3960327"/>
            <a:ext cx="536124" cy="536123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F4A9BCB0-E80E-484C-94C6-1F29D7F43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AB7ED1F-AE14-4ACA-815E-F31219287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02050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Section Divider with Blue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3" y="3001635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wo Line Section Divid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3CD728-6944-4B05-8B1E-5E869668F67E}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0" y="5569485"/>
            <a:ext cx="12192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ogo">
            <a:extLst>
              <a:ext uri="{FF2B5EF4-FFF2-40B4-BE49-F238E27FC236}">
                <a16:creationId xmlns:a16="http://schemas.microsoft.com/office/drawing/2014/main" id="{11333140-C4C1-47FE-BCFF-E27A119C4B9B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386100" y="4803346"/>
            <a:ext cx="536124" cy="536123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F4A9BCB0-E80E-484C-94C6-1F29D7F43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AB7ED1F-AE14-4ACA-815E-F31219287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004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Section Divider with White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C9D3BF-4DCA-4AB1-92E6-5A5DE1C0D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249582" y="2135966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ne Line Section Divider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4DBEC69-9C03-4A1C-8837-FDC497A1A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77B53-2ABD-4A12-9FB8-DAA05A642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15223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Section Divider with White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C9D3BF-4DCA-4AB1-92E6-5A5DE1C0D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3006309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wo Line Section Divider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3DC3C1A-4614-4BB5-9349-A59A3DEF6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06FC-B927-4762-B00A-CBB501EBE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9042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Section Divider with Black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C9D3BF-4DCA-4AB1-92E6-5A5DE1C0D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2135966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One Line Section Divider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3DC3C1A-4614-4BB5-9349-A59A3DEF6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06FC-B927-4762-B00A-CBB501EBE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69856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Section Divider with Black Typ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C9D3BF-4DCA-4AB1-92E6-5A5DE1C0D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rIns="0" bIns="91440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hot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90F1D17-0478-7E46-B194-96F1D9A73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249582" y="3006309"/>
            <a:ext cx="11612880" cy="2607601"/>
          </a:xfrm>
          <a:ln>
            <a:noFill/>
          </a:ln>
        </p:spPr>
        <p:txBody>
          <a:bodyPr anchor="b" anchorCtr="0"/>
          <a:lstStyle>
            <a:lvl1pPr marL="0" indent="0">
              <a:lnSpc>
                <a:spcPct val="95000"/>
              </a:lnSpc>
              <a:buNone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wo Line Section Divider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A3DC3C1A-4614-4BB5-9349-A59A3DEF6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298450" y="6457053"/>
            <a:ext cx="252409" cy="15388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7EAD36D4-32FF-544B-9EC2-1F035E0F636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D06FC-B927-4762-B00A-CBB501EBE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621388" y="6462461"/>
            <a:ext cx="2489464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82475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7B26F9-4AB1-076B-D620-93AA90C9E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42047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53" imgH="353" progId="TCLayout.ActiveDocument.1">
                  <p:embed/>
                </p:oleObj>
              </mc:Choice>
              <mc:Fallback>
                <p:oleObj name="think-cell Slide" r:id="rId3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7B26F9-4AB1-076B-D620-93AA90C9E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093DF8A-E70A-41A2-B536-DAD99DAC1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1967" y="6452028"/>
            <a:ext cx="248946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P Private, Confidential for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BD5A218-C2E5-4122-9119-B57632FAEE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878" y="6452028"/>
            <a:ext cx="256806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B71A6B67-5149-4CA8-8884-0AC28C15FD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CF8FE2-E272-454D-8A09-BE382F87D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254" y="78798"/>
            <a:ext cx="11612880" cy="1325563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1CCF0D-680B-7041-BD4E-5771B56290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3254" y="1520825"/>
            <a:ext cx="11612880" cy="4351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endParaRPr lang="en-US"/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02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tabLst>
          <a:tab pos="22542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39725" indent="-169863" algn="l" defTabSz="914400" rtl="0" eaLnBrk="1" latinLnBrk="0" hangingPunct="1">
        <a:lnSpc>
          <a:spcPct val="90000"/>
        </a:lnSpc>
        <a:spcBef>
          <a:spcPts val="500"/>
        </a:spcBef>
        <a:buFont typeface="HP Simplified Light" panose="020B04040202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949450" indent="-1206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Forma DJR Micro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544">
          <p15:clr>
            <a:srgbClr val="F26B43"/>
          </p15:clr>
        </p15:guide>
        <p15:guide id="3" pos="1248">
          <p15:clr>
            <a:srgbClr val="F26B43"/>
          </p15:clr>
        </p15:guide>
        <p15:guide id="4" pos="240">
          <p15:clr>
            <a:srgbClr val="F26B43"/>
          </p15:clr>
        </p15:guide>
        <p15:guide id="5" pos="5136">
          <p15:clr>
            <a:srgbClr val="F26B43"/>
          </p15:clr>
        </p15:guide>
        <p15:guide id="6" pos="6432">
          <p15:clr>
            <a:srgbClr val="F26B43"/>
          </p15:clr>
        </p15:guide>
        <p15:guide id="7" pos="7440">
          <p15:clr>
            <a:srgbClr val="F26B43"/>
          </p15:clr>
        </p15:guide>
        <p15:guide id="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chat.mistral.ai/chat" TargetMode="External"/><Relationship Id="rId13" Type="http://schemas.openxmlformats.org/officeDocument/2006/relationships/hyperlink" Target="https://www.anthropic.com/" TargetMode="External"/><Relationship Id="rId3" Type="http://schemas.openxmlformats.org/officeDocument/2006/relationships/oleObject" Target="../embeddings/oleObject3.bin"/><Relationship Id="rId7" Type="http://schemas.openxmlformats.org/officeDocument/2006/relationships/hyperlink" Target="https://en.wikipedia.org/wiki/Mistral_AI" TargetMode="External"/><Relationship Id="rId12" Type="http://schemas.openxmlformats.org/officeDocument/2006/relationships/hyperlink" Target="https://sakana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6" Type="http://schemas.openxmlformats.org/officeDocument/2006/relationships/hyperlink" Target="https://ai-pro.org/learn-ai/articles/mistral-ai-the-winds-of-change-in-open-source-ai/" TargetMode="External"/><Relationship Id="rId11" Type="http://schemas.openxmlformats.org/officeDocument/2006/relationships/hyperlink" Target="https://x.ai/" TargetMode="External"/><Relationship Id="rId5" Type="http://schemas.openxmlformats.org/officeDocument/2006/relationships/hyperlink" Target="https://mistral.ai/en" TargetMode="External"/><Relationship Id="rId10" Type="http://schemas.openxmlformats.org/officeDocument/2006/relationships/hyperlink" Target="https://openai.com/" TargetMode="External"/><Relationship Id="rId4" Type="http://schemas.openxmlformats.org/officeDocument/2006/relationships/image" Target="../media/image2.emf"/><Relationship Id="rId9" Type="http://schemas.openxmlformats.org/officeDocument/2006/relationships/hyperlink" Target="http://linkedin.com/company/mistralai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E5B551-35D7-2DE0-6C4B-9CD98D758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5B551-35D7-2DE0-6C4B-9CD98D7583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D39319-1891-4FF8-8A27-2B71F8B27C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andeep </a:t>
            </a:r>
            <a:r>
              <a:rPr lang="en-US" dirty="0" err="1"/>
              <a:t>Vijayasarathy</a:t>
            </a:r>
            <a:r>
              <a:rPr lang="en-US" dirty="0"/>
              <a:t>, Stephanie Co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891F9C-C77F-2C60-7B26-4A5998BF98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istral AI Company Summary</a:t>
            </a:r>
          </a:p>
        </p:txBody>
      </p:sp>
    </p:spTree>
    <p:extLst>
      <p:ext uri="{BB962C8B-B14F-4D97-AF65-F5344CB8AC3E}">
        <p14:creationId xmlns:p14="http://schemas.microsoft.com/office/powerpoint/2010/main" val="1254896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think-cell data - do not delete" hidden="1">
            <a:extLst>
              <a:ext uri="{FF2B5EF4-FFF2-40B4-BE49-F238E27FC236}">
                <a16:creationId xmlns:a16="http://schemas.microsoft.com/office/drawing/2014/main" id="{0210DAEE-35EA-E50D-CD96-E8E8CE5693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7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10DAEE-35EA-E50D-CD96-E8E8CE569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5DAFAC-64E0-8C84-4FBC-29E6B8CED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808" y="216565"/>
            <a:ext cx="11612880" cy="962571"/>
          </a:xfrm>
        </p:spPr>
        <p:txBody>
          <a:bodyPr vert="horz"/>
          <a:lstStyle/>
          <a:p>
            <a:r>
              <a:rPr lang="en-US" sz="3600" dirty="0"/>
              <a:t>Summary of Mistral.ai shows an ecosystem of AI models and Products built around NLP and general text processing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471294-2304-FC76-EC9B-19136D3BE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Forma DJR Micro"/>
              </a:rPr>
              <a:t>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orma DJR Micro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E42762-B11F-7C38-7B5B-37BBE1874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rma DJR Micro"/>
                <a:ea typeface="+mn-ea"/>
                <a:cs typeface="+mn-cs"/>
              </a:rPr>
              <a:t>HP Private, Confidential for Internal Use Onl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65747B-E459-52CC-EEF9-039994B8D245}"/>
              </a:ext>
            </a:extLst>
          </p:cNvPr>
          <p:cNvSpPr/>
          <p:nvPr/>
        </p:nvSpPr>
        <p:spPr>
          <a:xfrm>
            <a:off x="115570" y="3712464"/>
            <a:ext cx="886968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istral A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7ADF84-2DE1-A26C-3521-08606C3667D0}"/>
              </a:ext>
            </a:extLst>
          </p:cNvPr>
          <p:cNvSpPr/>
          <p:nvPr/>
        </p:nvSpPr>
        <p:spPr>
          <a:xfrm>
            <a:off x="1795018" y="1359408"/>
            <a:ext cx="7156705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pany Profi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D6FB73-8AB1-E98F-A994-F905AF403DE6}"/>
              </a:ext>
            </a:extLst>
          </p:cNvPr>
          <p:cNvSpPr/>
          <p:nvPr/>
        </p:nvSpPr>
        <p:spPr>
          <a:xfrm>
            <a:off x="1795018" y="2717734"/>
            <a:ext cx="7156707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el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22C8DC-F3D0-54D4-08CB-86AD4AECF1EC}"/>
              </a:ext>
            </a:extLst>
          </p:cNvPr>
          <p:cNvSpPr/>
          <p:nvPr/>
        </p:nvSpPr>
        <p:spPr>
          <a:xfrm>
            <a:off x="1795018" y="4090416"/>
            <a:ext cx="7156707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duct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BDBEF6-7567-E778-4778-C6BAC7DE21FE}"/>
              </a:ext>
            </a:extLst>
          </p:cNvPr>
          <p:cNvSpPr/>
          <p:nvPr/>
        </p:nvSpPr>
        <p:spPr>
          <a:xfrm>
            <a:off x="1795017" y="5344668"/>
            <a:ext cx="7156709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 Case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76893205-EF0A-B3FF-E988-6198F6DB673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1002538" y="1487424"/>
            <a:ext cx="792480" cy="2353056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56DB46BB-83C6-8E3A-3C60-71168F464B35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1002538" y="2845750"/>
            <a:ext cx="792480" cy="994730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B6FFC25-B956-804A-7DA6-5BAF77E3A80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1002538" y="3840480"/>
            <a:ext cx="792480" cy="377952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EFF573B0-76E2-92B1-2DEC-9DF1D98AF31F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1002538" y="3840480"/>
            <a:ext cx="792479" cy="1632204"/>
          </a:xfrm>
          <a:prstGeom prst="bentConnector3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0DF32EF-4291-F303-25AB-1DB2508C18DE}"/>
              </a:ext>
            </a:extLst>
          </p:cNvPr>
          <p:cNvSpPr/>
          <p:nvPr/>
        </p:nvSpPr>
        <p:spPr>
          <a:xfrm>
            <a:off x="2233930" y="1801368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eadquarter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Paris, France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unded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April 2023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luation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$6.2 Billion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loyee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 51-20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AB9893-C27A-87CD-CE6E-5F1F106EE52B}"/>
              </a:ext>
            </a:extLst>
          </p:cNvPr>
          <p:cNvSpPr/>
          <p:nvPr/>
        </p:nvSpPr>
        <p:spPr>
          <a:xfrm>
            <a:off x="4446779" y="1801368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Funding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b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105 million - June 2023</a:t>
            </a:r>
            <a:b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385 million - October 2023</a:t>
            </a:r>
          </a:p>
          <a:p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</a:rPr>
              <a:t>€600 million - June 2024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52B91B-91E2-93A9-C2FD-D84BE8E2F039}"/>
              </a:ext>
            </a:extLst>
          </p:cNvPr>
          <p:cNvSpPr/>
          <p:nvPr/>
        </p:nvSpPr>
        <p:spPr>
          <a:xfrm>
            <a:off x="6659628" y="1801368"/>
            <a:ext cx="1773936" cy="79519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under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rthur Mensch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uillaume </a:t>
            </a: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ample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imothée Lacroix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280A181-8771-59E8-81BF-9D5489E7F588}"/>
              </a:ext>
            </a:extLst>
          </p:cNvPr>
          <p:cNvCxnSpPr>
            <a:cxnSpLocks/>
          </p:cNvCxnSpPr>
          <p:nvPr/>
        </p:nvCxnSpPr>
        <p:spPr>
          <a:xfrm>
            <a:off x="3120898" y="161544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0C12A9D-B095-6AFB-5F5C-F9BE4E73E30B}"/>
              </a:ext>
            </a:extLst>
          </p:cNvPr>
          <p:cNvCxnSpPr>
            <a:cxnSpLocks/>
          </p:cNvCxnSpPr>
          <p:nvPr/>
        </p:nvCxnSpPr>
        <p:spPr>
          <a:xfrm>
            <a:off x="5333747" y="162001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1E4816F-6DEA-0739-F11D-0CE8D49503A9}"/>
              </a:ext>
            </a:extLst>
          </p:cNvPr>
          <p:cNvCxnSpPr>
            <a:cxnSpLocks/>
          </p:cNvCxnSpPr>
          <p:nvPr/>
        </p:nvCxnSpPr>
        <p:spPr>
          <a:xfrm>
            <a:off x="7546596" y="161544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1D1FD1B-162C-E490-1DB7-6C41A0584C5D}"/>
              </a:ext>
            </a:extLst>
          </p:cNvPr>
          <p:cNvSpPr/>
          <p:nvPr/>
        </p:nvSpPr>
        <p:spPr>
          <a:xfrm>
            <a:off x="2233930" y="3162300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neral Purpose Models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Large 2 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Small 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istral </a:t>
            </a:r>
            <a:r>
              <a:rPr lang="en-IN" sz="1000" kern="10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Mo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CB7A71E-ACD1-7CC2-94F4-740429D74201}"/>
              </a:ext>
            </a:extLst>
          </p:cNvPr>
          <p:cNvSpPr/>
          <p:nvPr/>
        </p:nvSpPr>
        <p:spPr>
          <a:xfrm>
            <a:off x="4446779" y="3162300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ecialist Model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des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istral Embed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ix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12B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DA9EE9-6904-DE96-47C5-C555214D04D6}"/>
              </a:ext>
            </a:extLst>
          </p:cNvPr>
          <p:cNvSpPr/>
          <p:nvPr/>
        </p:nvSpPr>
        <p:spPr>
          <a:xfrm>
            <a:off x="6659628" y="3162300"/>
            <a:ext cx="1773936" cy="77114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earch Models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ixtral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thstral</a:t>
            </a:r>
            <a:b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destral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Mamba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110508D-440B-4A57-07B4-C573EA631646}"/>
              </a:ext>
            </a:extLst>
          </p:cNvPr>
          <p:cNvCxnSpPr>
            <a:cxnSpLocks/>
          </p:cNvCxnSpPr>
          <p:nvPr/>
        </p:nvCxnSpPr>
        <p:spPr>
          <a:xfrm>
            <a:off x="3120898" y="297637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CFB6D77-D5DA-9EE7-3EF8-E63163278147}"/>
              </a:ext>
            </a:extLst>
          </p:cNvPr>
          <p:cNvCxnSpPr>
            <a:cxnSpLocks/>
          </p:cNvCxnSpPr>
          <p:nvPr/>
        </p:nvCxnSpPr>
        <p:spPr>
          <a:xfrm>
            <a:off x="5333747" y="2980944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AE4D0B4B-4B6A-A1EA-0B3B-C3B5533448AF}"/>
              </a:ext>
            </a:extLst>
          </p:cNvPr>
          <p:cNvCxnSpPr>
            <a:cxnSpLocks/>
          </p:cNvCxnSpPr>
          <p:nvPr/>
        </p:nvCxnSpPr>
        <p:spPr>
          <a:xfrm>
            <a:off x="7546596" y="297637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28AC1992-D89C-88A9-80FD-72C1E9FA0ED3}"/>
              </a:ext>
            </a:extLst>
          </p:cNvPr>
          <p:cNvSpPr/>
          <p:nvPr/>
        </p:nvSpPr>
        <p:spPr>
          <a:xfrm>
            <a:off x="2233930" y="4524756"/>
            <a:ext cx="1773936" cy="64008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b="1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 Chat: </a:t>
            </a: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t GPT, Perplexity like chat platform</a:t>
            </a:r>
            <a:b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IN" sz="1000" kern="100" dirty="0">
              <a:solidFill>
                <a:schemeClr val="tx1">
                  <a:lumMod val="50000"/>
                  <a:lumOff val="50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6631EB6-4318-C62A-F4D5-72C6C0BE0FAD}"/>
              </a:ext>
            </a:extLst>
          </p:cNvPr>
          <p:cNvSpPr/>
          <p:nvPr/>
        </p:nvSpPr>
        <p:spPr>
          <a:xfrm>
            <a:off x="4446779" y="4524756"/>
            <a:ext cx="1773936" cy="64008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a </a:t>
            </a:r>
            <a:r>
              <a:rPr lang="en-US" sz="1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lateforme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andbox environment for testing Mistral Model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71671EB-AD5E-6B7D-36A4-A4C6DE246B49}"/>
              </a:ext>
            </a:extLst>
          </p:cNvPr>
          <p:cNvCxnSpPr>
            <a:cxnSpLocks/>
          </p:cNvCxnSpPr>
          <p:nvPr/>
        </p:nvCxnSpPr>
        <p:spPr>
          <a:xfrm>
            <a:off x="3120898" y="4338828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A0731F6-35AD-3E07-0A31-94476EF7F50A}"/>
              </a:ext>
            </a:extLst>
          </p:cNvPr>
          <p:cNvCxnSpPr>
            <a:cxnSpLocks/>
          </p:cNvCxnSpPr>
          <p:nvPr/>
        </p:nvCxnSpPr>
        <p:spPr>
          <a:xfrm>
            <a:off x="5333747" y="434340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936CDC0-64D7-D07D-403A-F822C936D082}"/>
              </a:ext>
            </a:extLst>
          </p:cNvPr>
          <p:cNvSpPr/>
          <p:nvPr/>
        </p:nvSpPr>
        <p:spPr>
          <a:xfrm>
            <a:off x="1897126" y="5797296"/>
            <a:ext cx="807720" cy="354268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tbo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18BB7E4-E610-01BF-D5FD-383FACF20F33}"/>
              </a:ext>
            </a:extLst>
          </p:cNvPr>
          <p:cNvCxnSpPr/>
          <p:nvPr/>
        </p:nvCxnSpPr>
        <p:spPr>
          <a:xfrm>
            <a:off x="2300986" y="560070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262F8007-4F9A-54A9-0A64-432D3651E713}"/>
              </a:ext>
            </a:extLst>
          </p:cNvPr>
          <p:cNvSpPr/>
          <p:nvPr/>
        </p:nvSpPr>
        <p:spPr>
          <a:xfrm>
            <a:off x="2783333" y="5800343"/>
            <a:ext cx="1291974" cy="354269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ext Summarization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F223AEAB-0A8A-7364-CD52-DD651119F670}"/>
              </a:ext>
            </a:extLst>
          </p:cNvPr>
          <p:cNvCxnSpPr>
            <a:cxnSpLocks/>
          </p:cNvCxnSpPr>
          <p:nvPr/>
        </p:nvCxnSpPr>
        <p:spPr>
          <a:xfrm>
            <a:off x="3395599" y="5611368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1650252B-2EDC-7D33-AD5A-36FDB284A8F5}"/>
              </a:ext>
            </a:extLst>
          </p:cNvPr>
          <p:cNvSpPr/>
          <p:nvPr/>
        </p:nvSpPr>
        <p:spPr>
          <a:xfrm>
            <a:off x="4140457" y="5800344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ext Classification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CE1484C-060D-80C2-4D22-37180DE4B791}"/>
              </a:ext>
            </a:extLst>
          </p:cNvPr>
          <p:cNvCxnSpPr>
            <a:cxnSpLocks/>
          </p:cNvCxnSpPr>
          <p:nvPr/>
        </p:nvCxnSpPr>
        <p:spPr>
          <a:xfrm>
            <a:off x="4686810" y="5611368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8290CA0E-98B7-393A-CBD3-FA80761708AF}"/>
              </a:ext>
            </a:extLst>
          </p:cNvPr>
          <p:cNvSpPr/>
          <p:nvPr/>
        </p:nvSpPr>
        <p:spPr>
          <a:xfrm>
            <a:off x="5292602" y="5797296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ent Creation</a:t>
            </a: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F24336B-D72E-F71D-A11D-424869E8E8FA}"/>
              </a:ext>
            </a:extLst>
          </p:cNvPr>
          <p:cNvCxnSpPr>
            <a:cxnSpLocks/>
          </p:cNvCxnSpPr>
          <p:nvPr/>
        </p:nvCxnSpPr>
        <p:spPr>
          <a:xfrm>
            <a:off x="5838955" y="5608320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45839072-A083-740A-CA41-C625C5276378}"/>
              </a:ext>
            </a:extLst>
          </p:cNvPr>
          <p:cNvSpPr/>
          <p:nvPr/>
        </p:nvSpPr>
        <p:spPr>
          <a:xfrm>
            <a:off x="6459988" y="5794248"/>
            <a:ext cx="1092706" cy="35122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de Completion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5496AB43-30E0-BBB1-9D22-0084C10D6E90}"/>
              </a:ext>
            </a:extLst>
          </p:cNvPr>
          <p:cNvCxnSpPr>
            <a:cxnSpLocks/>
          </p:cNvCxnSpPr>
          <p:nvPr/>
        </p:nvCxnSpPr>
        <p:spPr>
          <a:xfrm>
            <a:off x="7006341" y="560527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4FF75908-145D-9B72-DF9C-B2D5023CBC76}"/>
              </a:ext>
            </a:extLst>
          </p:cNvPr>
          <p:cNvSpPr/>
          <p:nvPr/>
        </p:nvSpPr>
        <p:spPr>
          <a:xfrm>
            <a:off x="7627372" y="5801868"/>
            <a:ext cx="1324356" cy="3436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000" kern="100" dirty="0">
                <a:solidFill>
                  <a:schemeClr val="tx1">
                    <a:lumMod val="50000"/>
                    <a:lumOff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ultilingual Support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46CC781F-EA3D-6BE3-48DF-3C274D21C44F}"/>
              </a:ext>
            </a:extLst>
          </p:cNvPr>
          <p:cNvCxnSpPr>
            <a:cxnSpLocks/>
          </p:cNvCxnSpPr>
          <p:nvPr/>
        </p:nvCxnSpPr>
        <p:spPr>
          <a:xfrm>
            <a:off x="8289547" y="5612892"/>
            <a:ext cx="0" cy="185928"/>
          </a:xfrm>
          <a:prstGeom prst="straightConnector1">
            <a:avLst/>
          </a:prstGeom>
          <a:ln w="31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9367C17-8E1E-B9D6-E70E-02B3A7E7A292}"/>
              </a:ext>
            </a:extLst>
          </p:cNvPr>
          <p:cNvSpPr txBox="1"/>
          <p:nvPr/>
        </p:nvSpPr>
        <p:spPr>
          <a:xfrm>
            <a:off x="9226123" y="1701179"/>
            <a:ext cx="2901189" cy="16453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General Purpose Models </a:t>
            </a:r>
            <a:r>
              <a:rPr lang="en-US" sz="1000" dirty="0"/>
              <a:t>- </a:t>
            </a:r>
            <a:r>
              <a:rPr lang="en-IN" sz="1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re versatile tools capable of handling a broad array of natural language processing (NLP) tasks.</a:t>
            </a:r>
            <a:endParaRPr lang="en-US" sz="1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Specialist Models </a:t>
            </a:r>
            <a:r>
              <a:rPr lang="en-US" sz="1000" dirty="0"/>
              <a:t>- are purpose-built for specific applications rather than general text processing.</a:t>
            </a:r>
          </a:p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Research Models </a:t>
            </a:r>
            <a:r>
              <a:rPr lang="en-US" sz="1000" dirty="0"/>
              <a:t>- open source, with no restrictions on commercial use or deployment environments, providing a foundation for experimentation, development, and real-world applications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F7C3549-2813-7710-1BCD-32C7B93FF50F}"/>
              </a:ext>
            </a:extLst>
          </p:cNvPr>
          <p:cNvSpPr/>
          <p:nvPr/>
        </p:nvSpPr>
        <p:spPr>
          <a:xfrm>
            <a:off x="9226121" y="1359408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finitions</a:t>
            </a:r>
            <a:endParaRPr lang="en-US" sz="1000" b="1" kern="100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0E76FE9-AA34-4042-F7EF-E24C9C505B9F}"/>
              </a:ext>
            </a:extLst>
          </p:cNvPr>
          <p:cNvSpPr txBox="1"/>
          <p:nvPr/>
        </p:nvSpPr>
        <p:spPr>
          <a:xfrm>
            <a:off x="9226121" y="3706912"/>
            <a:ext cx="2840580" cy="8742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000" b="0" i="0" u="none" strike="noStrike">
                <a:solidFill>
                  <a:srgbClr val="337AB7"/>
                </a:solidFill>
                <a:effectLst/>
                <a:latin typeface="Roboto" panose="02000000000000000000" pitchFamily="2" charset="0"/>
              </a:defRPr>
            </a:lvl1pPr>
          </a:lstStyle>
          <a:p>
            <a:r>
              <a:rPr lang="en-IN" dirty="0">
                <a:hlinkClick r:id="rId5"/>
              </a:rPr>
              <a:t>Mistral</a:t>
            </a:r>
            <a:endParaRPr lang="en-IN" dirty="0"/>
          </a:p>
          <a:p>
            <a:r>
              <a:rPr lang="en-IN" dirty="0">
                <a:hlinkClick r:id="rId6"/>
              </a:rPr>
              <a:t>AI-Pro</a:t>
            </a:r>
            <a:endParaRPr lang="en-IN" dirty="0"/>
          </a:p>
          <a:p>
            <a:r>
              <a:rPr lang="en-IN" dirty="0">
                <a:hlinkClick r:id="rId7"/>
              </a:rPr>
              <a:t>Wiki</a:t>
            </a:r>
            <a:endParaRPr lang="en-IN" dirty="0"/>
          </a:p>
          <a:p>
            <a:r>
              <a:rPr lang="en-IN" dirty="0">
                <a:hlinkClick r:id="rId8"/>
              </a:rPr>
              <a:t>Le Chat</a:t>
            </a:r>
            <a:endParaRPr lang="en-IN" dirty="0"/>
          </a:p>
          <a:p>
            <a:r>
              <a:rPr lang="en-IN" dirty="0">
                <a:hlinkClick r:id="rId9"/>
              </a:rPr>
              <a:t>LinkedIn</a:t>
            </a:r>
            <a:endParaRPr lang="en-IN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7D4595A-0DC1-3A52-D9C5-3122D0A2FC34}"/>
              </a:ext>
            </a:extLst>
          </p:cNvPr>
          <p:cNvSpPr/>
          <p:nvPr/>
        </p:nvSpPr>
        <p:spPr>
          <a:xfrm>
            <a:off x="9226121" y="3420190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enc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075FEA6-27FF-FDEA-C214-20D7F0882102}"/>
              </a:ext>
            </a:extLst>
          </p:cNvPr>
          <p:cNvSpPr/>
          <p:nvPr/>
        </p:nvSpPr>
        <p:spPr>
          <a:xfrm>
            <a:off x="9226120" y="4556952"/>
            <a:ext cx="2840581" cy="256032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0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tito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F1AEC0C-4B2A-9ADD-C807-8C656612088B}"/>
              </a:ext>
            </a:extLst>
          </p:cNvPr>
          <p:cNvSpPr txBox="1"/>
          <p:nvPr/>
        </p:nvSpPr>
        <p:spPr>
          <a:xfrm>
            <a:off x="9226120" y="4844796"/>
            <a:ext cx="27819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b="0" i="0" u="none" strike="noStrike" dirty="0">
                <a:solidFill>
                  <a:srgbClr val="337AB7"/>
                </a:solidFill>
                <a:effectLst/>
                <a:latin typeface="Roboto" panose="02000000000000000000" pitchFamily="2" charset="0"/>
                <a:hlinkClick r:id="rId10"/>
              </a:rPr>
              <a:t>OpenAI</a:t>
            </a:r>
            <a:endParaRPr lang="en-IN" sz="1000" b="0" i="0" u="none" strike="noStrike" dirty="0">
              <a:solidFill>
                <a:srgbClr val="337AB7"/>
              </a:solidFill>
              <a:effectLst/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1"/>
              </a:rPr>
              <a:t>XAI</a:t>
            </a:r>
            <a:endParaRPr lang="en-IN" sz="1000" dirty="0">
              <a:solidFill>
                <a:srgbClr val="337AB7"/>
              </a:solidFill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2"/>
              </a:rPr>
              <a:t>Sakana</a:t>
            </a:r>
            <a:endParaRPr lang="en-IN" sz="1000" dirty="0">
              <a:solidFill>
                <a:srgbClr val="337AB7"/>
              </a:solidFill>
              <a:latin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337AB7"/>
                </a:solidFill>
                <a:latin typeface="Roboto" panose="02000000000000000000" pitchFamily="2" charset="0"/>
                <a:hlinkClick r:id="rId13"/>
              </a:rPr>
              <a:t>Anthropic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01370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 Corporate Template 2022">
  <a:themeElements>
    <a:clrScheme name="HP Corporate Blue Template">
      <a:dk1>
        <a:sysClr val="windowText" lastClr="000000"/>
      </a:dk1>
      <a:lt1>
        <a:sysClr val="window" lastClr="FFFFFF"/>
      </a:lt1>
      <a:dk2>
        <a:srgbClr val="BBD8FC"/>
      </a:dk2>
      <a:lt2>
        <a:srgbClr val="CCE2FD"/>
      </a:lt2>
      <a:accent1>
        <a:srgbClr val="AACFFB"/>
      </a:accent1>
      <a:accent2>
        <a:srgbClr val="98C5FA"/>
      </a:accent2>
      <a:accent3>
        <a:srgbClr val="87BBFA"/>
      </a:accent3>
      <a:accent4>
        <a:srgbClr val="76B1F9"/>
      </a:accent4>
      <a:accent5>
        <a:srgbClr val="65A8F8"/>
      </a:accent5>
      <a:accent6>
        <a:srgbClr val="549EF7"/>
      </a:accent6>
      <a:hlink>
        <a:srgbClr val="074B9E"/>
      </a:hlink>
      <a:folHlink>
        <a:srgbClr val="549EF7"/>
      </a:folHlink>
    </a:clrScheme>
    <a:fontScheme name="HP Corporate Template 2022">
      <a:majorFont>
        <a:latin typeface="Forma DJR Display"/>
        <a:ea typeface=""/>
        <a:cs typeface=""/>
      </a:majorFont>
      <a:minorFont>
        <a:latin typeface="Forma DJR Mic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black">
        <a:ln w="158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spcBef>
            <a:spcPts val="10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9DA58CD-035C-437B-88A0-FB123477D5D9}" vid="{18CB3647-4392-4773-914B-B7E8CF56AB7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</TotalTime>
  <Words>242</Words>
  <Application>Microsoft Office PowerPoint</Application>
  <PresentationFormat>Widescreen</PresentationFormat>
  <Paragraphs>4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Forma DJR Display</vt:lpstr>
      <vt:lpstr>Forma DJR Micro</vt:lpstr>
      <vt:lpstr>HP Simplified Light</vt:lpstr>
      <vt:lpstr>Roboto</vt:lpstr>
      <vt:lpstr>HP Corporate Template 2022</vt:lpstr>
      <vt:lpstr>think-cell Slide</vt:lpstr>
      <vt:lpstr>PowerPoint Presentation</vt:lpstr>
      <vt:lpstr>Summary of Mistral.ai shows an ecosystem of AI models and Products built around NLP and general text processi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jaya, Sandeep Sarathy</dc:creator>
  <cp:lastModifiedBy>Vijaya, Sandeep Sarathy</cp:lastModifiedBy>
  <cp:revision>1</cp:revision>
  <dcterms:created xsi:type="dcterms:W3CDTF">2025-02-17T04:04:53Z</dcterms:created>
  <dcterms:modified xsi:type="dcterms:W3CDTF">2025-02-17T06:20:08Z</dcterms:modified>
</cp:coreProperties>
</file>